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3"/>
  </p:notesMasterIdLst>
  <p:handoutMasterIdLst>
    <p:handoutMasterId r:id="rId14"/>
  </p:handoutMasterIdLst>
  <p:sldIdLst>
    <p:sldId id="256" r:id="rId6"/>
    <p:sldId id="275" r:id="rId7"/>
    <p:sldId id="280" r:id="rId8"/>
    <p:sldId id="278" r:id="rId9"/>
    <p:sldId id="279" r:id="rId10"/>
    <p:sldId id="266" r:id="rId11"/>
    <p:sldId id="268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114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Relationship Id="rId9" Type="http://schemas.openxmlformats.org/officeDocument/2006/relationships/image" Target="../media/image11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NULL"/><Relationship Id="rId5" Type="http://schemas.openxmlformats.org/officeDocument/2006/relationships/image" Target="../media/image5.png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5" Type="http://schemas.openxmlformats.org/officeDocument/2006/relationships/image" Target="../media/image8.png"/><Relationship Id="rId10" Type="http://schemas.openxmlformats.org/officeDocument/2006/relationships/image" Target="../media/image11.svg"/><Relationship Id="rId4" Type="http://schemas.openxmlformats.org/officeDocument/2006/relationships/image" Target="../media/image6.svg"/><Relationship Id="rId9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6" Type="http://schemas.openxmlformats.org/officeDocument/2006/relationships/image" Target="NULL"/><Relationship Id="rId5" Type="http://schemas.openxmlformats.org/officeDocument/2006/relationships/image" Target="../media/image8.png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nb-NO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si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</p:spTree>
    <p:extLst>
      <p:ext uri="{BB962C8B-B14F-4D97-AF65-F5344CB8AC3E}">
        <p14:creationId xmlns:p14="http://schemas.microsoft.com/office/powerpoint/2010/main" val="26195592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59098" y="371518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59097" y="5875993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00DEDF7-A715-4410-ACF2-29795822F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5715831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0A05AF4-63D3-4127-BC34-6BD82C03AF3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715831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9" y="1704042"/>
            <a:ext cx="5715831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8223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side UiO Fullbredde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kapfor1, kapfor4, kapfor5, kapfor6, kapfor7</a:t>
            </a:r>
          </a:p>
        </p:txBody>
      </p:sp>
    </p:spTree>
    <p:extLst>
      <p:ext uri="{BB962C8B-B14F-4D97-AF65-F5344CB8AC3E}">
        <p14:creationId xmlns:p14="http://schemas.microsoft.com/office/powerpoint/2010/main" val="2717854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34" imgW="339" imgH="343" progId="TCLayout.ActiveDocument.1">
                  <p:embed/>
                </p:oleObj>
              </mc:Choice>
              <mc:Fallback>
                <p:oleObj name="think-cell Slide" r:id="rId3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96DAC541-7B7A-43D3-8B79-37D633B846F1}">
                <asvg:svgBlip xmlns=""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  <p:sldLayoutId id="2147483731" r:id="rId29"/>
    <p:sldLayoutId id="2147483732" r:id="rId30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lovdata.no/dokument/NL/lov/1997-02-28-19/KAPITTEL_5-4#%C2%A78-2" TargetMode="Externa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uio.no/for-ansatte/ansettelsesforhold/arbeidstid-og-fraver/sykdom/rettigheter-plikter/index.html#toc10" TargetMode="Externa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Dersom%20en%20arbeidstaker%20blir%20syk%20mens%20vedkommende%20har%20permisjon%20uten%20l&#248;nn%20fra%20sin%20stilling,%20har" TargetMode="Externa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hyperlink" Target="https://www.uio.no/for-ansatte/ansettelsesforhold/arbeidstid-og-fraver/permisjon/omsorg/index.html#barn" TargetMode="Externa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mailto:b.l.zwilgmeyer@admin.uio.no" TargetMode="External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/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18368" r="18368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7BEB34-BF47-47BB-8B35-A21F868F7B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69AC09-2576-4FCC-A8E6-2B5767CC4E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37" y="2395331"/>
            <a:ext cx="6023809" cy="2527442"/>
          </a:xfrm>
        </p:spPr>
        <p:txBody>
          <a:bodyPr/>
          <a:lstStyle/>
          <a:p>
            <a:r>
              <a:rPr lang="nb-NO" sz="2400" dirty="0"/>
              <a:t>L</a:t>
            </a:r>
            <a:r>
              <a:rPr lang="nb-NO" sz="2400" dirty="0" smtClean="0"/>
              <a:t>ønn under sykdom ved ulønnet permisjon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2400" dirty="0"/>
              <a:t/>
            </a:r>
            <a:br>
              <a:rPr lang="en-US" sz="2400" dirty="0"/>
            </a:br>
            <a:r>
              <a:rPr lang="en-US" sz="1800" i="1" dirty="0" err="1" smtClean="0"/>
              <a:t>Presisering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av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UiOs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retningslinjer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i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forhold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til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folketrygdlovens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krav</a:t>
            </a:r>
            <a:r>
              <a:rPr lang="en-US" sz="1800" i="1" dirty="0" smtClean="0"/>
              <a:t> om </a:t>
            </a:r>
            <a:r>
              <a:rPr lang="en-US" sz="1800" i="1" dirty="0" err="1" smtClean="0"/>
              <a:t>opptjeningstid</a:t>
            </a:r>
            <a:r>
              <a:rPr lang="en-US" sz="1800" i="1" dirty="0" smtClean="0"/>
              <a:t> for </a:t>
            </a:r>
            <a:r>
              <a:rPr lang="en-US" sz="1800" i="1" dirty="0" err="1" smtClean="0"/>
              <a:t>rett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til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lønn</a:t>
            </a:r>
            <a:r>
              <a:rPr lang="en-US" sz="1800" i="1" dirty="0" smtClean="0"/>
              <a:t> </a:t>
            </a:r>
            <a:r>
              <a:rPr lang="en-US" sz="1800" i="1" dirty="0" smtClean="0"/>
              <a:t>under </a:t>
            </a:r>
            <a:r>
              <a:rPr lang="en-US" sz="1800" i="1" dirty="0" err="1" smtClean="0"/>
              <a:t>sykdom</a:t>
            </a:r>
            <a:r>
              <a:rPr lang="en-US" sz="1800" i="1" dirty="0" smtClean="0"/>
              <a:t/>
            </a:r>
            <a:br>
              <a:rPr lang="en-US" sz="1800" i="1" dirty="0" smtClean="0"/>
            </a:br>
            <a:endParaRPr lang="en-US" sz="1800" i="1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C03838C-DDE2-4698-9970-D6A16289A4E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 smtClean="0"/>
              <a:t>Bjørn </a:t>
            </a:r>
            <a:r>
              <a:rPr lang="nb-NO" dirty="0" smtClean="0"/>
              <a:t>Ludvig Zwilgmeyer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411E9A3-CEF4-4AB6-BAA7-AAC9101C8C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b-NO" dirty="0" smtClean="0"/>
              <a:t>Seniorrådgiver/advoka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0B37F67-443C-40E9-9FE7-4E65332FA1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 smtClean="0"/>
              <a:t>Avdeling for </a:t>
            </a:r>
            <a:r>
              <a:rPr lang="nb-NO" dirty="0" smtClean="0"/>
              <a:t>organisasjon og personal, UiO</a:t>
            </a:r>
            <a:endParaRPr lang="en-US" dirty="0"/>
          </a:p>
          <a:p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271C1F9-245E-498A-BEED-0313909719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 smtClean="0"/>
              <a:t>PK-nettverket 29</a:t>
            </a:r>
            <a:r>
              <a:rPr lang="nb-NO" dirty="0" smtClean="0"/>
              <a:t>. mars 2023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37711FA-5A22-4872-A804-70D0D3424D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877053" y="286576"/>
            <a:ext cx="1025436" cy="102542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2098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 smtClean="0"/>
              <a:t>OPA fikk en henvendelse med spørsmål om rett til lønn under sykdom hvor den ansatte er blitt sykemeldt straks etter en periode med permisjon </a:t>
            </a:r>
            <a:r>
              <a:rPr lang="nb-NO" sz="2400" u="sng" dirty="0" smtClean="0"/>
              <a:t>uten</a:t>
            </a:r>
            <a:r>
              <a:rPr lang="nb-NO" sz="2400" dirty="0" smtClean="0"/>
              <a:t> løn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 smtClean="0"/>
              <a:t>En typisk problemstilling: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2400" dirty="0"/>
              <a:t>E</a:t>
            </a:r>
            <a:r>
              <a:rPr lang="nb-NO" sz="2400" dirty="0" smtClean="0"/>
              <a:t>n ansatte utvider en </a:t>
            </a:r>
            <a:r>
              <a:rPr lang="nb-NO" sz="2400" dirty="0" smtClean="0"/>
              <a:t>lønnet </a:t>
            </a:r>
            <a:r>
              <a:rPr lang="nb-NO" sz="2400" dirty="0" smtClean="0"/>
              <a:t>omsorgspermisjon med en </a:t>
            </a:r>
            <a:r>
              <a:rPr lang="nb-NO" sz="2400" u="sng" dirty="0" smtClean="0"/>
              <a:t>ulønnet</a:t>
            </a:r>
            <a:r>
              <a:rPr lang="nb-NO" sz="2400" dirty="0" smtClean="0"/>
              <a:t> permisjon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2400" dirty="0"/>
              <a:t>Den ansatte blir syk etter endt permisjon og kommer ikke tilbake på jobb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2400" dirty="0" smtClean="0"/>
              <a:t>Tilfredsstiller verken krav til opptjeningstid etter folketrygdloven </a:t>
            </a:r>
            <a:r>
              <a:rPr lang="nb-NO" sz="2400" dirty="0" smtClean="0">
                <a:hlinkClick r:id="rId2"/>
              </a:rPr>
              <a:t>§ 8-2 </a:t>
            </a:r>
            <a:r>
              <a:rPr lang="nb-NO" sz="2400" dirty="0" smtClean="0"/>
              <a:t>eller oppmøte </a:t>
            </a:r>
            <a:r>
              <a:rPr lang="nb-NO" sz="2400" dirty="0" err="1" smtClean="0"/>
              <a:t>øf</a:t>
            </a:r>
            <a:r>
              <a:rPr lang="nb-NO" sz="2400" dirty="0" smtClean="0"/>
              <a:t> går ut i sykemelding</a:t>
            </a:r>
            <a:endParaRPr lang="nb-NO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 smtClean="0"/>
              <a:t>HTA </a:t>
            </a:r>
            <a:r>
              <a:rPr lang="nb-NO" sz="2400" dirty="0"/>
              <a:t>§ 18 </a:t>
            </a:r>
            <a:r>
              <a:rPr lang="nb-NO" sz="2400" dirty="0" smtClean="0"/>
              <a:t>«En </a:t>
            </a:r>
            <a:r>
              <a:rPr lang="nb-NO" sz="2400" dirty="0"/>
              <a:t>arbeidstaker med fast ukentlig arbeidstid og som har tiltrådt tjenesten, har rett til full lønn under </a:t>
            </a:r>
            <a:r>
              <a:rPr lang="nb-NO" sz="2400" dirty="0" smtClean="0"/>
              <a:t>sykdom»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2400" dirty="0" smtClean="0"/>
              <a:t>Hvilke krav oppstilles til opptjeningstid og til krav om fysisk oppmøte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2400" dirty="0" smtClean="0"/>
              <a:t>Kan den ansatte benytte egenmel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/>
          </a:p>
          <a:p>
            <a:endParaRPr lang="nb-NO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Bakgrunn for sak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67306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nb-NO" sz="2400" dirty="0" smtClean="0"/>
              <a:t>Se </a:t>
            </a:r>
            <a:r>
              <a:rPr lang="nb-NO" sz="2400" dirty="0">
                <a:hlinkClick r:id="rId2"/>
              </a:rPr>
              <a:t>Dine rettigheter og plikter ved sykefravær - For ansatte - Universitetet i Oslo (uio.no</a:t>
            </a:r>
            <a:r>
              <a:rPr lang="nb-NO" sz="2400" dirty="0" smtClean="0">
                <a:hlinkClick r:id="rId2"/>
              </a:rPr>
              <a:t>)</a:t>
            </a:r>
            <a:endParaRPr lang="nb-NO" sz="2400" dirty="0" smtClean="0"/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nb-NO" sz="2400" dirty="0" smtClean="0"/>
              <a:t>Full lønn fra UiO, ikke begrenset til 6G fra NAV iht. folketrygdloven § 8-10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nb-NO" sz="2400" dirty="0" smtClean="0"/>
              <a:t>For </a:t>
            </a:r>
            <a:r>
              <a:rPr lang="nb-NO" sz="2400" dirty="0"/>
              <a:t>å ha rett til lønn under </a:t>
            </a:r>
            <a:r>
              <a:rPr lang="nb-NO" sz="2400" dirty="0" smtClean="0"/>
              <a:t>sykdom må den ansatte ha </a:t>
            </a:r>
            <a:r>
              <a:rPr lang="nb-NO" sz="2400" u="sng" dirty="0" smtClean="0"/>
              <a:t>fysisk</a:t>
            </a:r>
            <a:r>
              <a:rPr lang="nb-NO" sz="2400" dirty="0" smtClean="0"/>
              <a:t> </a:t>
            </a:r>
            <a:r>
              <a:rPr lang="nb-NO" sz="2400" dirty="0"/>
              <a:t>tiltrådt stillingen ved </a:t>
            </a:r>
            <a:r>
              <a:rPr lang="nb-NO" sz="2400" dirty="0" smtClean="0"/>
              <a:t>UiO og ikke hatt avbrudd (permisjon) ut over 14 dager</a:t>
            </a:r>
            <a:endParaRPr lang="nb-NO" sz="2400" dirty="0"/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nb-NO" sz="2400" dirty="0" smtClean="0"/>
              <a:t>Begrenset til 248 </a:t>
            </a:r>
            <a:r>
              <a:rPr lang="nb-NO" sz="2400" dirty="0"/>
              <a:t>dager </a:t>
            </a:r>
            <a:r>
              <a:rPr lang="nb-NO" sz="2400" dirty="0" smtClean="0"/>
              <a:t>hel/delvis fravær over 3 år, deretter karenstid på 26 </a:t>
            </a:r>
            <a:r>
              <a:rPr lang="nb-NO" sz="2400" dirty="0"/>
              <a:t>uker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 smtClean="0"/>
              <a:t>En rekke forutsetninger for bruk av egenmelding, bla. vært på jobb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sz="2400" dirty="0" smtClean="0"/>
              <a:t>16 dager etter 8 fraværsdager med egenmelding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sz="2400" dirty="0" smtClean="0"/>
              <a:t>1 dag etter fravær med legeerklæring, dog 16 dager ved fravær &gt;16 dager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sz="2400" dirty="0" smtClean="0"/>
              <a:t>1 måned etter å ha vært i foreldrepermisjon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sz="2400" dirty="0" smtClean="0"/>
              <a:t>2 måneder etter å ha vært i annen type permisjon </a:t>
            </a:r>
            <a:endParaRPr lang="nb-NO" sz="24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Rett til lønn under sykdom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83606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 smtClean="0"/>
              <a:t>Ved lønnet permisjon </a:t>
            </a:r>
            <a:r>
              <a:rPr lang="nb-NO" sz="2400" dirty="0"/>
              <a:t>(omsorgs- og foreldrepermisjon</a:t>
            </a:r>
            <a:r>
              <a:rPr lang="nb-NO" sz="2400" dirty="0" smtClean="0"/>
              <a:t>)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2400" dirty="0" smtClean="0"/>
              <a:t>Utgangspunkt om lønn under sykdom (erstatter </a:t>
            </a:r>
            <a:r>
              <a:rPr lang="nb-NO" sz="2400" dirty="0" err="1"/>
              <a:t>mao</a:t>
            </a:r>
            <a:r>
              <a:rPr lang="nb-NO" sz="2400" dirty="0"/>
              <a:t>. </a:t>
            </a:r>
            <a:r>
              <a:rPr lang="nb-NO" sz="2400" dirty="0" smtClean="0"/>
              <a:t>lønn </a:t>
            </a:r>
            <a:r>
              <a:rPr lang="nb-NO" sz="2400" dirty="0"/>
              <a:t>under </a:t>
            </a:r>
            <a:r>
              <a:rPr lang="nb-NO" sz="2400" dirty="0" smtClean="0"/>
              <a:t>permisjon)</a:t>
            </a:r>
            <a:endParaRPr lang="nb-NO" sz="2400" dirty="0"/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2400" dirty="0" smtClean="0"/>
              <a:t>Vanligvis rett til utsettelse/overføring av permisjonen til sen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 smtClean="0"/>
              <a:t>Ved ulønnet permisjon (ulønnet </a:t>
            </a:r>
            <a:r>
              <a:rPr lang="nb-NO" sz="2400" dirty="0"/>
              <a:t>omsorgspermisjon</a:t>
            </a:r>
            <a:r>
              <a:rPr lang="nb-NO" sz="2400" dirty="0" smtClean="0"/>
              <a:t>)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2400" dirty="0"/>
              <a:t>U</a:t>
            </a:r>
            <a:r>
              <a:rPr lang="nb-NO" sz="2400" dirty="0" smtClean="0"/>
              <a:t>tgangspunktet derimot være at den ansatte ikke har krav på lønn eller ytelser 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2400" dirty="0" smtClean="0"/>
              <a:t>Følger </a:t>
            </a:r>
            <a:r>
              <a:rPr lang="nb-NO" sz="2400" dirty="0"/>
              <a:t>av folketrygdloven § 8-2 </a:t>
            </a:r>
            <a:r>
              <a:rPr lang="nb-NO" sz="2400" dirty="0" smtClean="0"/>
              <a:t>og § 8-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 smtClean="0"/>
              <a:t>Også i utgangspunktet i staten, se </a:t>
            </a:r>
            <a:r>
              <a:rPr lang="nb-NO" sz="2400" dirty="0" smtClean="0">
                <a:hlinkClick r:id="rId2" action="ppaction://hlinkfile"/>
              </a:rPr>
              <a:t>kommentar # 4 </a:t>
            </a:r>
            <a:r>
              <a:rPr lang="nb-NO" sz="2400" dirty="0" smtClean="0"/>
              <a:t>til HTA § 18 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2400" dirty="0" smtClean="0"/>
              <a:t>«Dersom </a:t>
            </a:r>
            <a:r>
              <a:rPr lang="nb-NO" sz="2400" dirty="0"/>
              <a:t>en arbeidstaker blir syk mens vedkommende har permisjon uten lønn fra sin stilling, har vedkommende ikke rett til lønn under </a:t>
            </a:r>
            <a:r>
              <a:rPr lang="nb-NO" sz="2400" dirty="0" smtClean="0"/>
              <a:t>sykdom» 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2400" dirty="0" smtClean="0"/>
              <a:t>Kan </a:t>
            </a:r>
            <a:r>
              <a:rPr lang="nb-NO" sz="2400" dirty="0"/>
              <a:t>u</a:t>
            </a:r>
            <a:r>
              <a:rPr lang="nb-NO" sz="2400" dirty="0" smtClean="0"/>
              <a:t>nntaksvis få lønn etter konkret vurdering, ved studiepermisjon eller lignende, dog kommer dette til fradrag i evt. senere lønn under permisjon </a:t>
            </a:r>
            <a:endParaRPr lang="nb-NO" sz="24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ykdom under permisjo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64862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8"/>
          </p:nvPr>
        </p:nvSpPr>
        <p:spPr>
          <a:xfrm>
            <a:off x="360044" y="970431"/>
            <a:ext cx="11471910" cy="481731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 smtClean="0"/>
              <a:t>Utgangspunkt et </a:t>
            </a:r>
            <a:r>
              <a:rPr lang="nb-NO" sz="2400" dirty="0"/>
              <a:t>vilkår for utbetaling av lønn under sykdom at arbeidstakeren </a:t>
            </a:r>
            <a:r>
              <a:rPr lang="nb-NO" sz="2400" dirty="0" smtClean="0"/>
              <a:t>har en avtalt arbeidstid og fysisk møter på </a:t>
            </a:r>
            <a:r>
              <a:rPr lang="nb-NO" sz="2400" dirty="0"/>
              <a:t>arbeidsstedet for å </a:t>
            </a:r>
            <a:r>
              <a:rPr lang="nb-NO" sz="2400" dirty="0" smtClean="0"/>
              <a:t>gjenoppta arbeid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 smtClean="0"/>
              <a:t>Ved sykdom rett etter permisjon gjøres det et unntak fra krav om oppmøte og den ansatte får </a:t>
            </a:r>
            <a:r>
              <a:rPr lang="nb-NO" sz="2400" dirty="0"/>
              <a:t>lønn under sykdom </a:t>
            </a:r>
            <a:r>
              <a:rPr lang="nb-NO" sz="2400" dirty="0" smtClean="0"/>
              <a:t>fra dato </a:t>
            </a:r>
            <a:r>
              <a:rPr lang="nb-NO" sz="2400" dirty="0"/>
              <a:t>permisjonen opphører og er </a:t>
            </a:r>
            <a:r>
              <a:rPr lang="nb-NO" sz="2400" dirty="0" smtClean="0"/>
              <a:t>samtidig «å </a:t>
            </a:r>
            <a:r>
              <a:rPr lang="nb-NO" sz="2400" dirty="0"/>
              <a:t>anse som </a:t>
            </a:r>
            <a:r>
              <a:rPr lang="nb-NO" sz="2400" dirty="0" smtClean="0"/>
              <a:t>gjeninntrådt» etter HTA § 18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 smtClean="0"/>
              <a:t>Dette gjelder også når permisjonen er ulønnet, slik at krav til 4 ukers opptjeningstid etter folketrygdloven § 8-2 ikke gjelder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 smtClean="0"/>
              <a:t>Retten </a:t>
            </a:r>
            <a:r>
              <a:rPr lang="nb-NO" sz="2400" dirty="0"/>
              <a:t>til lønn etter HTA § 18 er uavhengig om UiO får refusjon av sykepenger fra </a:t>
            </a:r>
            <a:r>
              <a:rPr lang="nb-NO" sz="2400" dirty="0" smtClean="0"/>
              <a:t>NAV og </a:t>
            </a:r>
            <a:r>
              <a:rPr lang="nb-NO" sz="2400" dirty="0"/>
              <a:t>gir dermed </a:t>
            </a:r>
            <a:r>
              <a:rPr lang="nb-NO" sz="2400" dirty="0" smtClean="0"/>
              <a:t>ansatte i staten bedre </a:t>
            </a:r>
            <a:r>
              <a:rPr lang="nb-NO" sz="2400" dirty="0"/>
              <a:t>vilkår enn </a:t>
            </a:r>
            <a:r>
              <a:rPr lang="nb-NO" sz="2400" dirty="0" smtClean="0"/>
              <a:t>etter reglene </a:t>
            </a:r>
            <a:r>
              <a:rPr lang="nb-NO" sz="2400" dirty="0"/>
              <a:t>i Folketrygdlov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 smtClean="0"/>
              <a:t>Det er et vilkår at det før permisjonen begynte ble avtalt en fast arbeidstid og at det er avtalt </a:t>
            </a:r>
            <a:r>
              <a:rPr lang="nb-NO" sz="2400" dirty="0"/>
              <a:t>dato for tilbakekomst </a:t>
            </a:r>
            <a:r>
              <a:rPr lang="nb-NO" sz="2400" dirty="0" smtClean="0"/>
              <a:t>til arbeidet (og at denne har kommet)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Lønn ved endt permisjo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79742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«</a:t>
            </a:r>
            <a:r>
              <a:rPr lang="nb-NO" dirty="0" err="1" smtClean="0"/>
              <a:t>Take-away</a:t>
            </a:r>
            <a:r>
              <a:rPr lang="nb-NO" dirty="0" smtClean="0"/>
              <a:t>»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sz="1600" dirty="0">
                <a:hlinkClick r:id="rId2"/>
              </a:rPr>
              <a:t>Omsorgspermisjon - For ansatte - Universitetet i Oslo (uio.no)</a:t>
            </a:r>
            <a:endParaRPr lang="nb-NO" sz="1600" dirty="0"/>
          </a:p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9"/>
          </p:nvPr>
        </p:nvSpPr>
        <p:spPr>
          <a:xfrm>
            <a:off x="380169" y="1704042"/>
            <a:ext cx="5843441" cy="4354559"/>
          </a:xfrm>
        </p:spPr>
        <p:txBody>
          <a:bodyPr/>
          <a:lstStyle/>
          <a:p>
            <a:r>
              <a:rPr lang="nb-NO" dirty="0" smtClean="0"/>
              <a:t>Ansatte </a:t>
            </a:r>
            <a:r>
              <a:rPr lang="nb-NO" dirty="0" smtClean="0"/>
              <a:t>har krav på lønn under sykdom straks etter ulønnet permisjon, uavhengig av kravet til opptjeningstid</a:t>
            </a:r>
          </a:p>
          <a:p>
            <a:r>
              <a:rPr lang="nb-NO" dirty="0" smtClean="0"/>
              <a:t>Krav om at det er avtalt arbeidstid og </a:t>
            </a:r>
            <a:r>
              <a:rPr lang="nb-NO" dirty="0" smtClean="0"/>
              <a:t>at dato for gjeninntreden er inntrådt, men ikke krav om at er fysisk tilbake</a:t>
            </a:r>
            <a:r>
              <a:rPr lang="nb-NO" dirty="0" smtClean="0"/>
              <a:t> </a:t>
            </a:r>
          </a:p>
          <a:p>
            <a:r>
              <a:rPr lang="nb-NO" dirty="0" smtClean="0"/>
              <a:t>Ansatt kan ikke benytte egenmelding, UiO skal kreve legeerklæring fra dag én</a:t>
            </a:r>
          </a:p>
          <a:p>
            <a:r>
              <a:rPr lang="nb-NO" dirty="0" smtClean="0"/>
              <a:t>Av hensyn til ansatte bør UiO sette </a:t>
            </a:r>
            <a:r>
              <a:rPr lang="nb-NO" dirty="0"/>
              <a:t>dato for </a:t>
            </a:r>
            <a:r>
              <a:rPr lang="nb-NO" dirty="0" smtClean="0"/>
              <a:t>gjeninntreden ved ulønnet permisjon!</a:t>
            </a:r>
          </a:p>
          <a:p>
            <a:pPr marL="0" indent="0">
              <a:buNone/>
            </a:pPr>
            <a:endParaRPr lang="nb-NO" sz="1400" dirty="0">
              <a:hlinkClick r:id="rId2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7170" name="Picture 2" descr="A History of the Drive-Thru, From California to Coronavirus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54" r="625"/>
          <a:stretch/>
        </p:blipFill>
        <p:spPr bwMode="auto">
          <a:xfrm>
            <a:off x="6223610" y="606653"/>
            <a:ext cx="6035040" cy="5451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6556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16" name="Text Placeholder 15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Takk for </a:t>
            </a:r>
            <a:r>
              <a:rPr lang="nb-NO" dirty="0" smtClean="0"/>
              <a:t>oppmerksomheten!!!</a:t>
            </a:r>
            <a:endParaRPr lang="en-US" dirty="0"/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</p:nvPr>
        </p:nvSpPr>
        <p:spPr>
          <a:xfrm>
            <a:off x="2463595" y="5199013"/>
            <a:ext cx="65" cy="26930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2463594" y="5468760"/>
            <a:ext cx="65" cy="26930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2463594" y="5735491"/>
            <a:ext cx="65" cy="26930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294967295"/>
          </p:nvPr>
        </p:nvSpPr>
        <p:spPr>
          <a:xfrm>
            <a:off x="11591925" y="6264275"/>
            <a:ext cx="600075" cy="365125"/>
          </a:xfrm>
        </p:spPr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7" name="Text Placeholder 12"/>
          <p:cNvSpPr txBox="1">
            <a:spLocks/>
          </p:cNvSpPr>
          <p:nvPr/>
        </p:nvSpPr>
        <p:spPr>
          <a:xfrm>
            <a:off x="2460192" y="5199013"/>
            <a:ext cx="7165233" cy="17664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Arial" panose="020B0604020202020204" pitchFamily="34" charset="0"/>
              <a:buNone/>
              <a:defRPr sz="1750" kern="1200">
                <a:solidFill>
                  <a:schemeClr val="tx1"/>
                </a:solidFill>
                <a:highlight>
                  <a:srgbClr val="FFFFFF"/>
                </a:highlight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 smtClean="0"/>
              <a:t>Bjørn Ludvig Zwilgmeyer</a:t>
            </a:r>
            <a:br>
              <a:rPr lang="nb-NO" dirty="0" smtClean="0"/>
            </a:br>
            <a:r>
              <a:rPr lang="nb-NO" dirty="0" smtClean="0"/>
              <a:t>Seniorrådgiver/advokat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Avdeling for </a:t>
            </a:r>
            <a:r>
              <a:rPr lang="nb-NO" dirty="0" smtClean="0"/>
              <a:t>organisasjon og personal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>
                <a:hlinkClick r:id="rId2"/>
              </a:rPr>
              <a:t>b.l.zwilgmeyer@admin.uio.no</a:t>
            </a:r>
            <a:r>
              <a:rPr lang="nb-NO" dirty="0" smtClean="0"/>
              <a:t> </a:t>
            </a:r>
            <a:br>
              <a:rPr lang="nb-NO" dirty="0" smtClean="0"/>
            </a:br>
            <a:r>
              <a:rPr lang="nb-NO" dirty="0" smtClean="0"/>
              <a:t>+47 99705011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769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EF1AA1B9-BC1F-45E4-9908-70FA5603ED5D}" vid="{0B1EB24D-9A29-4936-B027-FCD997E1BD8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002927B-03DE-4325-846A-85432DF8412B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CFB7AC4D-E83B-47A4-9E06-B565C308E68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B28EF869-B8FE-45CB-9684-66F77CDC3934}">
  <ds:schemaRefs>
    <ds:schemaRef ds:uri="http://schemas.microsoft.com/office/2006/metadata/properties"/>
    <ds:schemaRef ds:uri="45a9c032-1c21-4297-bc4a-1b0e359a6c15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e5e35b8c-bb2a-40e7-acd7-beed1d1f14b8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9376</TotalTime>
  <Words>675</Words>
  <Application>Microsoft Office PowerPoint</Application>
  <PresentationFormat>Widescreen</PresentationFormat>
  <Paragraphs>54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Arial, sans-serif</vt:lpstr>
      <vt:lpstr>Calibri</vt:lpstr>
      <vt:lpstr>Wingdings</vt:lpstr>
      <vt:lpstr>Office Theme</vt:lpstr>
      <vt:lpstr>think-cell Slide</vt:lpstr>
      <vt:lpstr>Lønn under sykdom ved ulønnet permisjon  Presisering av UiOs retningslinjer i forhold til folketrygdlovens krav om opptjeningstid for rett til lønn under sykdom </vt:lpstr>
      <vt:lpstr>Bakgrunn for saken</vt:lpstr>
      <vt:lpstr>Rett til lønn under sykdom</vt:lpstr>
      <vt:lpstr>Sykdom under permisjon</vt:lpstr>
      <vt:lpstr>Lønn ved endt permisjon</vt:lpstr>
      <vt:lpstr>«Take-away»</vt:lpstr>
      <vt:lpstr>Takk for oppmerksomheten!!!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ndre Christensen</dc:creator>
  <cp:lastModifiedBy>Bjørn Zwilgmeyer</cp:lastModifiedBy>
  <cp:revision>55</cp:revision>
  <dcterms:created xsi:type="dcterms:W3CDTF">2022-03-04T12:07:14Z</dcterms:created>
  <dcterms:modified xsi:type="dcterms:W3CDTF">2023-03-27T13:5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_dlc_DocIdItemGuid">
    <vt:lpwstr>e1ba8df5-1c55-4d83-8486-5b6b738896d5</vt:lpwstr>
  </property>
</Properties>
</file>